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71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4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4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9" y="1296827"/>
            <a:ext cx="2527096" cy="5014910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412176" y="1271126"/>
            <a:ext cx="2436888" cy="5040611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099809" y="997897"/>
            <a:ext cx="3200383" cy="568863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О: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,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  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73</Words>
  <Application>Microsoft Office PowerPoint</Application>
  <PresentationFormat>Экран (4:3)</PresentationFormat>
  <Paragraphs>53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2024 ГОД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Горбунова Ольга Ивановна</cp:lastModifiedBy>
  <cp:revision>28</cp:revision>
  <cp:lastPrinted>2025-05-14T01:20:42Z</cp:lastPrinted>
  <dcterms:created xsi:type="dcterms:W3CDTF">2022-06-27T05:53:54Z</dcterms:created>
  <dcterms:modified xsi:type="dcterms:W3CDTF">2025-05-14T01:23:34Z</dcterms:modified>
</cp:coreProperties>
</file>